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48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330" r:id="rId9"/>
    <p:sldId id="314" r:id="rId10"/>
    <p:sldId id="318" r:id="rId11"/>
    <p:sldId id="261" r:id="rId12"/>
    <p:sldId id="323" r:id="rId13"/>
    <p:sldId id="260" r:id="rId14"/>
    <p:sldId id="322" r:id="rId15"/>
    <p:sldId id="324" r:id="rId16"/>
    <p:sldId id="333" r:id="rId17"/>
    <p:sldId id="326" r:id="rId18"/>
    <p:sldId id="327" r:id="rId19"/>
    <p:sldId id="329" r:id="rId20"/>
    <p:sldId id="325" r:id="rId21"/>
    <p:sldId id="328" r:id="rId22"/>
    <p:sldId id="334" r:id="rId23"/>
    <p:sldId id="335" r:id="rId24"/>
    <p:sldId id="336" r:id="rId25"/>
    <p:sldId id="337" r:id="rId26"/>
    <p:sldId id="338" r:id="rId27"/>
    <p:sldId id="315" r:id="rId28"/>
    <p:sldId id="277" r:id="rId29"/>
    <p:sldId id="316" r:id="rId30"/>
    <p:sldId id="279" r:id="rId31"/>
    <p:sldId id="319" r:id="rId32"/>
    <p:sldId id="264" r:id="rId33"/>
    <p:sldId id="265" r:id="rId34"/>
    <p:sldId id="266" r:id="rId35"/>
    <p:sldId id="267" r:id="rId36"/>
    <p:sldId id="268" r:id="rId37"/>
    <p:sldId id="332" r:id="rId38"/>
    <p:sldId id="320" r:id="rId39"/>
    <p:sldId id="270" r:id="rId40"/>
    <p:sldId id="341" r:id="rId41"/>
    <p:sldId id="342" r:id="rId42"/>
    <p:sldId id="343" r:id="rId43"/>
    <p:sldId id="344" r:id="rId44"/>
    <p:sldId id="345" r:id="rId45"/>
    <p:sldId id="346" r:id="rId46"/>
    <p:sldId id="273" r:id="rId47"/>
  </p:sldIdLst>
  <p:sldSz cx="12192000" cy="6858000"/>
  <p:notesSz cx="6858000" cy="9144000"/>
  <p:embeddedFontLst>
    <p:embeddedFont>
      <p:font typeface="等线" panose="02010600030101010101" pitchFamily="2" charset="-122"/>
      <p:regular r:id="rId49"/>
      <p:bold r:id="rId50"/>
    </p:embeddedFont>
    <p:embeddedFont>
      <p:font typeface="等线 Light" panose="02010600030101010101" pitchFamily="2" charset="-122"/>
      <p:regular r:id="rId51"/>
    </p:embeddedFont>
    <p:embeddedFont>
      <p:font typeface="微软雅黑" panose="020B0503020204020204" pitchFamily="34" charset="-122"/>
      <p:regular r:id="rId52"/>
      <p:bold r:id="rId53"/>
    </p:embeddedFont>
    <p:embeddedFont>
      <p:font typeface="Cambria Math" panose="02040503050406030204" pitchFamily="18" charset="0"/>
      <p:regular r:id="rId54"/>
    </p:embeddedFont>
    <p:embeddedFont>
      <p:font typeface="Consolas" panose="020B0609020204030204" pitchFamily="49" charset="0"/>
      <p:regular r:id="rId55"/>
      <p:bold r:id="rId56"/>
      <p:italic r:id="rId57"/>
      <p:boldItalic r:id="rId58"/>
    </p:embeddedFont>
    <p:embeddedFont>
      <p:font typeface="Consolig" panose="020B0609020204030204" pitchFamily="49" charset="0"/>
      <p:regular r:id="rId59"/>
      <p:bold r:id="rId60"/>
      <p:italic r:id="rId61"/>
      <p:boldItalic r:id="rId62"/>
    </p:embeddedFont>
    <p:embeddedFont>
      <p:font typeface="Segoe UI" panose="020B0502040204020203" pitchFamily="34" charset="0"/>
      <p:regular r:id="rId63"/>
      <p:bold r:id="rId64"/>
      <p:italic r:id="rId65"/>
      <p:boldItalic r:id="rId66"/>
    </p:embeddedFont>
    <p:embeddedFont>
      <p:font typeface="Segoe UI Light" panose="020B0502040204020203" pitchFamily="34" charset="0"/>
      <p:regular r:id="rId67"/>
      <p:italic r:id="rId68"/>
    </p:embeddedFont>
  </p:embeddedFontLst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30" autoAdjust="0"/>
    <p:restoredTop sz="94694"/>
  </p:normalViewPr>
  <p:slideViewPr>
    <p:cSldViewPr snapToGrid="0" showGuides="1">
      <p:cViewPr varScale="1">
        <p:scale>
          <a:sx n="121" d="100"/>
          <a:sy n="121" d="100"/>
        </p:scale>
        <p:origin x="488" y="17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font" Target="fonts/font15.fntdata"/><Relationship Id="rId68" Type="http://schemas.openxmlformats.org/officeDocument/2006/relationships/font" Target="fonts/font20.fntdata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font" Target="fonts/font5.fntdata"/><Relationship Id="rId58" Type="http://schemas.openxmlformats.org/officeDocument/2006/relationships/font" Target="fonts/font10.fntdata"/><Relationship Id="rId66" Type="http://schemas.openxmlformats.org/officeDocument/2006/relationships/font" Target="fonts/font18.fntdata"/><Relationship Id="rId5" Type="http://schemas.openxmlformats.org/officeDocument/2006/relationships/slide" Target="slides/slide4.xml"/><Relationship Id="rId61" Type="http://schemas.openxmlformats.org/officeDocument/2006/relationships/font" Target="fonts/font13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56" Type="http://schemas.openxmlformats.org/officeDocument/2006/relationships/font" Target="fonts/font8.fntdata"/><Relationship Id="rId64" Type="http://schemas.openxmlformats.org/officeDocument/2006/relationships/font" Target="fonts/font16.fntdata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font" Target="fonts/font3.fntdata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11.fntdata"/><Relationship Id="rId67" Type="http://schemas.openxmlformats.org/officeDocument/2006/relationships/font" Target="fonts/font19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6.fntdata"/><Relationship Id="rId62" Type="http://schemas.openxmlformats.org/officeDocument/2006/relationships/font" Target="fonts/font14.fntdata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1.fntdata"/><Relationship Id="rId57" Type="http://schemas.openxmlformats.org/officeDocument/2006/relationships/font" Target="fonts/font9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font" Target="fonts/font4.fntdata"/><Relationship Id="rId60" Type="http://schemas.openxmlformats.org/officeDocument/2006/relationships/font" Target="fonts/font12.fntdata"/><Relationship Id="rId65" Type="http://schemas.openxmlformats.org/officeDocument/2006/relationships/font" Target="fonts/font1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font" Target="fonts/font2.fntdata"/><Relationship Id="rId55" Type="http://schemas.openxmlformats.org/officeDocument/2006/relationships/font" Target="fonts/font7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6/07/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5942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379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62049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522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2125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53019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6937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8336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586707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4046034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98758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787C3-0110-12A0-3835-E91246FD24AA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538234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8399059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284330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A78C9F-44B4-002E-8BC2-B702173FBC9D}" type="slidenum">
              <a:rPr/>
              <a:t>30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35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36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931129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39</a:t>
            </a:fld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23720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221158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040323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790415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741402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103589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6</a:t>
            </a:fld>
            <a:endParaRPr lang="en-ID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08465B8-CB5E-0D37-F372-7E80419BD47F}"/>
              </a:ext>
            </a:extLst>
          </p:cNvPr>
          <p:cNvGrpSpPr/>
          <p:nvPr/>
        </p:nvGrpSpPr>
        <p:grpSpPr>
          <a:xfrm>
            <a:off x="723085" y="2636466"/>
            <a:ext cx="10161930" cy="2240628"/>
            <a:chOff x="723085" y="2636466"/>
            <a:chExt cx="10161930" cy="2240628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23085" y="3042306"/>
              <a:ext cx="3600953" cy="1428949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 bwMode="auto">
            <a:xfrm>
              <a:off x="4217858" y="3295116"/>
              <a:ext cx="529312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>
                <a:defRPr/>
              </a:pPr>
              <a:r>
                <a:rPr lang="en-US" sz="5400" b="1" cap="none" spc="0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pic>
          <p:nvPicPr>
            <p:cNvPr id="8" name="Picture 2" descr="Rust Logo PNG Vector (SVG) Free Download"/>
            <p:cNvPicPr>
              <a:picLocks noChangeAspect="1" noChangeArrowheads="1"/>
            </p:cNvPicPr>
            <p:nvPr/>
          </p:nvPicPr>
          <p:blipFill>
            <a:blip r:embed="rId6"/>
            <a:stretch/>
          </p:blipFill>
          <p:spPr bwMode="auto">
            <a:xfrm>
              <a:off x="5103164" y="2636466"/>
              <a:ext cx="2233159" cy="2240628"/>
            </a:xfrm>
            <a:prstGeom prst="rect">
              <a:avLst/>
            </a:prstGeom>
            <a:noFill/>
          </p:spPr>
        </p:pic>
        <p:pic>
          <p:nvPicPr>
            <p:cNvPr id="9" name="Picture 4" descr="MMU letter logo design in illustration. Vector logo, calligraphy ..."/>
            <p:cNvPicPr>
              <a:picLocks noChangeAspect="1" noChangeArrowheads="1"/>
            </p:cNvPicPr>
            <p:nvPr/>
          </p:nvPicPr>
          <p:blipFill rotWithShape="1">
            <a:blip r:embed="rId7"/>
            <a:srcRect l="18603" t="20961" r="18241" b="20269"/>
            <a:stretch/>
          </p:blipFill>
          <p:spPr bwMode="auto">
            <a:xfrm>
              <a:off x="8651855" y="2698303"/>
              <a:ext cx="2233160" cy="2078061"/>
            </a:xfrm>
            <a:prstGeom prst="rect">
              <a:avLst/>
            </a:prstGeom>
            <a:noFill/>
          </p:spPr>
        </p:pic>
        <p:sp>
          <p:nvSpPr>
            <p:cNvPr id="10" name="文本框 9"/>
            <p:cNvSpPr txBox="1"/>
            <p:nvPr/>
          </p:nvSpPr>
          <p:spPr bwMode="auto">
            <a:xfrm>
              <a:off x="7692317" y="3263426"/>
              <a:ext cx="603543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5400" b="1" cap="none" spc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>
            <a:extLst>
              <a:ext uri="{FF2B5EF4-FFF2-40B4-BE49-F238E27FC236}">
                <a16:creationId xmlns:a16="http://schemas.microsoft.com/office/drawing/2014/main" id="{2A19AEE0-036C-61B4-45C6-89D8E544D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873" y="193183"/>
            <a:ext cx="4967496" cy="6175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42CE7C-6B60-6B71-E8BE-43A006399792}"/>
              </a:ext>
            </a:extLst>
          </p:cNvPr>
          <p:cNvSpPr txBox="1"/>
          <p:nvPr/>
        </p:nvSpPr>
        <p:spPr>
          <a:xfrm>
            <a:off x="3690783" y="1425783"/>
            <a:ext cx="4000007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28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主目录下</a:t>
            </a:r>
            <a:endParaRPr lang="en-US" altLang="zh-CN" sz="28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_asm_vector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定义异常向量和中断处理程序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lis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链表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管理和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我们自己添加的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语言版的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实现，用于可行性验证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queue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队列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间通信和同步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startup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系统启动时的初始化和配置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ask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任务管理的实现，用于创建、删除和管理任务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imer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定时器管理的实现，用于任务的延时和超时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wrapper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include 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所有头文件，结合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bindgen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进行链接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E258324-80F1-DACC-ABF7-1682B6054C46}"/>
              </a:ext>
            </a:extLst>
          </p:cNvPr>
          <p:cNvSpPr txBox="1"/>
          <p:nvPr/>
        </p:nvSpPr>
        <p:spPr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altLang="zh-CN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  <a:ea typeface="微软雅黑" panose="020B0503020204020204" pitchFamily="34" charset="-122"/>
              </a:rPr>
              <a:t>./portable/GCC/ARM_CA53_64_RaspberryPi3/</a:t>
            </a:r>
            <a:r>
              <a:rPr lang="zh-CN" altLang="en-US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目录下</a:t>
            </a:r>
            <a:endParaRPr lang="en-US" altLang="zh-CN" sz="20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与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Raspberry Pi 3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平台相关的端口层实现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ASM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平台相关的底层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macro.h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头文件，包含了与平台相关的宏定义和类型定义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emMang</a:t>
            </a: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/heap_1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个简单的堆内存管理器的实现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0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1FCF01-A869-E2B6-7979-538FD9D4C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FACD2D-4336-1981-0C27-DABF9820B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341097F-D9CA-537D-F4AA-D58F83E76C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69EE2C-B154-2D2B-5881-069D6174A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>
            <a:extLst>
              <a:ext uri="{FF2B5EF4-FFF2-40B4-BE49-F238E27FC236}">
                <a16:creationId xmlns:a16="http://schemas.microsoft.com/office/drawing/2014/main" id="{A006FCE6-D529-6127-8DFD-9307BBEA6BE5}"/>
              </a:ext>
            </a:extLst>
          </p:cNvPr>
          <p:cNvCxnSpPr>
            <a:cxnSpLocks/>
          </p:cNvCxnSpPr>
          <p:nvPr/>
        </p:nvCxnSpPr>
        <p:spPr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>
            <a:extLst>
              <a:ext uri="{FF2B5EF4-FFF2-40B4-BE49-F238E27FC236}">
                <a16:creationId xmlns:a16="http://schemas.microsoft.com/office/drawing/2014/main" id="{36F1401D-FB85-F0C8-0A3D-E6D696D4A1DA}"/>
              </a:ext>
            </a:extLst>
          </p:cNvPr>
          <p:cNvGrpSpPr/>
          <p:nvPr/>
        </p:nvGrpSpPr>
        <p:grpSpPr>
          <a:xfrm>
            <a:off x="5707887" y="1429090"/>
            <a:ext cx="569672" cy="204820"/>
            <a:chOff x="5964215" y="1531583"/>
            <a:chExt cx="621997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椭圆 8">
              <a:extLst>
                <a:ext uri="{FF2B5EF4-FFF2-40B4-BE49-F238E27FC236}">
                  <a16:creationId xmlns:a16="http://schemas.microsoft.com/office/drawing/2014/main" id="{A5D62335-FD36-38B0-7766-3C7F36C4F49E}"/>
                </a:ext>
              </a:extLst>
            </p:cNvPr>
            <p:cNvSpPr/>
            <p:nvPr/>
          </p:nvSpPr>
          <p:spPr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2">
              <a:extLst>
                <a:ext uri="{FF2B5EF4-FFF2-40B4-BE49-F238E27FC236}">
                  <a16:creationId xmlns:a16="http://schemas.microsoft.com/office/drawing/2014/main" id="{B0CEFC62-6727-F9E4-D613-432EF064417A}"/>
                </a:ext>
              </a:extLst>
            </p:cNvPr>
            <p:cNvCxnSpPr>
              <a:cxnSpLocks/>
              <a:stCxn id="13" idx="6"/>
            </p:cNvCxnSpPr>
            <p:nvPr/>
          </p:nvCxnSpPr>
          <p:spPr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6809C09A-74E0-C62D-6266-D637F4F5CE22}"/>
              </a:ext>
            </a:extLst>
          </p:cNvPr>
          <p:cNvGrpSpPr/>
          <p:nvPr/>
        </p:nvGrpSpPr>
        <p:grpSpPr>
          <a:xfrm>
            <a:off x="5707889" y="3994573"/>
            <a:ext cx="569670" cy="204820"/>
            <a:chOff x="5964215" y="4790393"/>
            <a:chExt cx="62199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椭圆 10">
              <a:extLst>
                <a:ext uri="{FF2B5EF4-FFF2-40B4-BE49-F238E27FC236}">
                  <a16:creationId xmlns:a16="http://schemas.microsoft.com/office/drawing/2014/main" id="{CC8E7032-446D-12DD-2DF6-8461CE784F91}"/>
                </a:ext>
              </a:extLst>
            </p:cNvPr>
            <p:cNvSpPr/>
            <p:nvPr/>
          </p:nvSpPr>
          <p:spPr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4">
              <a:extLst>
                <a:ext uri="{FF2B5EF4-FFF2-40B4-BE49-F238E27FC236}">
                  <a16:creationId xmlns:a16="http://schemas.microsoft.com/office/drawing/2014/main" id="{601E5B84-F17F-549A-CD34-67A603D946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0CEE4C4-3472-E9D5-EF9B-CFA442ED156A}"/>
              </a:ext>
            </a:extLst>
          </p:cNvPr>
          <p:cNvGrpSpPr/>
          <p:nvPr/>
        </p:nvGrpSpPr>
        <p:grpSpPr>
          <a:xfrm flipH="1">
            <a:off x="5235551" y="2508890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椭圆 9">
              <a:extLst>
                <a:ext uri="{FF2B5EF4-FFF2-40B4-BE49-F238E27FC236}">
                  <a16:creationId xmlns:a16="http://schemas.microsoft.com/office/drawing/2014/main" id="{51DB9E73-A06E-8E4A-C5D0-695B25233911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20" name="直接连接符 16">
              <a:extLst>
                <a:ext uri="{FF2B5EF4-FFF2-40B4-BE49-F238E27FC236}">
                  <a16:creationId xmlns:a16="http://schemas.microsoft.com/office/drawing/2014/main" id="{5BBE6B19-35C6-54E1-0F18-B1981047B147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>
            <a:extLst>
              <a:ext uri="{FF2B5EF4-FFF2-40B4-BE49-F238E27FC236}">
                <a16:creationId xmlns:a16="http://schemas.microsoft.com/office/drawing/2014/main" id="{B70C78C3-56A5-569F-5A9A-9F576DA0ECE0}"/>
              </a:ext>
            </a:extLst>
          </p:cNvPr>
          <p:cNvGrpSpPr/>
          <p:nvPr/>
        </p:nvGrpSpPr>
        <p:grpSpPr>
          <a:xfrm flipH="1">
            <a:off x="5238891" y="5267822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椭圆 9">
              <a:extLst>
                <a:ext uri="{FF2B5EF4-FFF2-40B4-BE49-F238E27FC236}">
                  <a16:creationId xmlns:a16="http://schemas.microsoft.com/office/drawing/2014/main" id="{72688116-B09C-6DC9-5974-2F0619DD3AFD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35" name="直接连接符 16">
              <a:extLst>
                <a:ext uri="{FF2B5EF4-FFF2-40B4-BE49-F238E27FC236}">
                  <a16:creationId xmlns:a16="http://schemas.microsoft.com/office/drawing/2014/main" id="{944BF9A9-4EF5-5FCA-9262-C260D8A024DE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>
            <a:extLst>
              <a:ext uri="{FF2B5EF4-FFF2-40B4-BE49-F238E27FC236}">
                <a16:creationId xmlns:a16="http://schemas.microsoft.com/office/drawing/2014/main" id="{A819EE68-57A5-2636-39D2-0F073EE3A325}"/>
              </a:ext>
            </a:extLst>
          </p:cNvPr>
          <p:cNvSpPr txBox="1">
            <a:spLocks/>
          </p:cNvSpPr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altLang="zh-CN" sz="2800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</a:p>
        </p:txBody>
      </p:sp>
    </p:spTree>
    <p:extLst>
      <p:ext uri="{BB962C8B-B14F-4D97-AF65-F5344CB8AC3E}">
        <p14:creationId xmlns:p14="http://schemas.microsoft.com/office/powerpoint/2010/main" val="1703409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533400" y="1401879"/>
            <a:ext cx="10290412" cy="3362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题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权问题在链表中尤为突出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链表中的链表项可能会在多个地方被使用，它们在使用完后会被释放，而这会导致链表项的生命周期提前结束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决方案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数据结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rc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数据包裹，</a:t>
            </a: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它能够统计程序的不同地方对某个变量的引用，并且进行计数。</a:t>
            </a:r>
            <a:endParaRPr lang="en-US" altLang="zh-CN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只要存在这样的引用，程序就不会自动释放这个变量，从而确保了变量的有效性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533400" y="1412631"/>
            <a:ext cx="10290412" cy="2531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然而，使用</a:t>
            </a:r>
            <a:r>
              <a:rPr lang="en-US" altLang="zh-CN" dirty="0">
                <a:latin typeface="+mj-ea"/>
                <a:ea typeface="+mj-ea"/>
              </a:rPr>
              <a:t>Arc</a:t>
            </a:r>
            <a:r>
              <a:rPr lang="zh-CN" altLang="en-US" dirty="0">
                <a:latin typeface="+mj-ea"/>
                <a:ea typeface="+mj-ea"/>
              </a:rPr>
              <a:t>包裹数据又会产生新的问题</a:t>
            </a:r>
            <a:r>
              <a:rPr lang="en-US" altLang="zh-CN" dirty="0">
                <a:latin typeface="+mj-ea"/>
                <a:ea typeface="+mj-ea"/>
              </a:rPr>
              <a:t>——</a:t>
            </a:r>
            <a:r>
              <a:rPr lang="zh-CN" altLang="en-US" dirty="0">
                <a:latin typeface="+mj-ea"/>
                <a:ea typeface="+mj-ea"/>
              </a:rPr>
              <a:t>循环引用。</a:t>
            </a:r>
            <a:endParaRPr lang="en-US" altLang="zh-CN" dirty="0"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如果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引用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，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引用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，那么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，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就永远无法被释放！</a:t>
            </a:r>
            <a:endParaRPr lang="en-US" altLang="zh-CN" dirty="0"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+mj-ea"/>
                <a:ea typeface="+mj-ea"/>
              </a:rPr>
              <a:t>解决方案：</a:t>
            </a:r>
            <a:endParaRPr lang="en-US" altLang="zh-CN" b="1" dirty="0">
              <a:latin typeface="+mj-ea"/>
              <a:ea typeface="+mj-ea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引入弱引用</a:t>
            </a:r>
            <a:r>
              <a:rPr lang="en-US" altLang="zh-CN" dirty="0">
                <a:latin typeface="+mj-ea"/>
                <a:ea typeface="+mj-ea"/>
              </a:rPr>
              <a:t>Weak</a:t>
            </a:r>
            <a:r>
              <a:rPr lang="zh-CN" altLang="en-US" dirty="0">
                <a:latin typeface="+mj-ea"/>
                <a:ea typeface="+mj-ea"/>
              </a:rPr>
              <a:t>，它不会增加引用数。</a:t>
            </a:r>
            <a:endParaRPr lang="en-US" altLang="zh-CN" dirty="0">
              <a:latin typeface="+mj-ea"/>
              <a:ea typeface="+mj-ea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同时，利用</a:t>
            </a:r>
            <a:r>
              <a:rPr lang="en-US" altLang="zh-CN" dirty="0">
                <a:latin typeface="+mj-ea"/>
                <a:ea typeface="+mj-ea"/>
              </a:rPr>
              <a:t>Rust</a:t>
            </a:r>
            <a:r>
              <a:rPr lang="zh-CN" altLang="en-US" dirty="0">
                <a:latin typeface="+mj-ea"/>
                <a:ea typeface="+mj-ea"/>
              </a:rPr>
              <a:t>的</a:t>
            </a:r>
            <a:r>
              <a:rPr lang="en-US" altLang="zh-CN" dirty="0">
                <a:latin typeface="+mj-ea"/>
                <a:ea typeface="+mj-ea"/>
              </a:rPr>
              <a:t>upgrade</a:t>
            </a:r>
            <a:r>
              <a:rPr lang="zh-CN" altLang="en-US" dirty="0">
                <a:latin typeface="+mj-ea"/>
                <a:ea typeface="+mj-ea"/>
              </a:rPr>
              <a:t>和</a:t>
            </a:r>
            <a:r>
              <a:rPr lang="en-US" altLang="zh-CN" dirty="0">
                <a:latin typeface="+mj-ea"/>
                <a:ea typeface="+mj-ea"/>
              </a:rPr>
              <a:t>downgrade</a:t>
            </a:r>
            <a:r>
              <a:rPr lang="zh-CN" altLang="en-US" dirty="0">
                <a:latin typeface="+mj-ea"/>
                <a:ea typeface="+mj-ea"/>
              </a:rPr>
              <a:t>函数可以实现强引用</a:t>
            </a:r>
            <a:r>
              <a:rPr lang="en-US" altLang="zh-CN" dirty="0">
                <a:latin typeface="+mj-ea"/>
                <a:ea typeface="+mj-ea"/>
              </a:rPr>
              <a:t>Arc</a:t>
            </a:r>
            <a:r>
              <a:rPr lang="zh-CN" altLang="en-US" dirty="0">
                <a:latin typeface="+mj-ea"/>
                <a:ea typeface="+mj-ea"/>
              </a:rPr>
              <a:t>和弱引用</a:t>
            </a:r>
            <a:r>
              <a:rPr lang="en-US" altLang="zh-CN" dirty="0">
                <a:latin typeface="+mj-ea"/>
                <a:ea typeface="+mj-ea"/>
              </a:rPr>
              <a:t>Weak</a:t>
            </a:r>
            <a:r>
              <a:rPr lang="zh-CN" altLang="en-US" dirty="0">
                <a:latin typeface="+mj-ea"/>
                <a:ea typeface="+mj-ea"/>
              </a:rPr>
              <a:t>之间的转换，合理增减变量的引用数。</a:t>
            </a:r>
            <a:endParaRPr lang="en-US" altLang="zh-CN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2121824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31F1F-FCF1-813D-DBC8-B570B3322302}"/>
              </a:ext>
            </a:extLst>
          </p:cNvPr>
          <p:cNvSpPr txBox="1"/>
          <p:nvPr/>
        </p:nvSpPr>
        <p:spPr bwMode="auto">
          <a:xfrm>
            <a:off x="533400" y="1580785"/>
            <a:ext cx="8154537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7BEF688-7BC2-5066-46E7-5FAD3CB9F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08007" y="2184400"/>
            <a:ext cx="7375985" cy="41485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815667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D5EAD1-E25C-7320-F1DC-F9D966D32FB5}"/>
              </a:ext>
            </a:extLst>
          </p:cNvPr>
          <p:cNvSpPr txBox="1"/>
          <p:nvPr/>
        </p:nvSpPr>
        <p:spPr bwMode="auto">
          <a:xfrm>
            <a:off x="533400" y="1631461"/>
            <a:ext cx="8536675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解决方案：</a:t>
            </a:r>
            <a:r>
              <a:rPr lang="zh-CN" altLang="en-US" dirty="0"/>
              <a:t>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DD7B540-798F-0F77-7675-E87171A6B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746509" y="2285009"/>
            <a:ext cx="8698981" cy="37970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81194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29259B6-9CE7-BC11-8FC6-959A8666149D}"/>
              </a:ext>
            </a:extLst>
          </p:cNvPr>
          <p:cNvSpPr txBox="1"/>
          <p:nvPr/>
        </p:nvSpPr>
        <p:spPr bwMode="auto">
          <a:xfrm>
            <a:off x="533400" y="1285631"/>
            <a:ext cx="8154537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在使用</a:t>
            </a:r>
            <a:r>
              <a:rPr lang="en-US" altLang="zh-CN" dirty="0" err="1"/>
              <a:t>bindgen</a:t>
            </a:r>
            <a:r>
              <a:rPr lang="zh-CN" altLang="en-US" dirty="0"/>
              <a:t>时，头文件中的一部分具有函数功能的宏会被忽略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F2E03BE-33FD-71D9-A3CF-0751A0746E8F}"/>
              </a:ext>
            </a:extLst>
          </p:cNvPr>
          <p:cNvSpPr txBox="1"/>
          <p:nvPr/>
        </p:nvSpPr>
        <p:spPr bwMode="auto">
          <a:xfrm>
            <a:off x="533400" y="1801505"/>
            <a:ext cx="4251959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解决方案：</a:t>
            </a:r>
            <a:endParaRPr lang="en-US" altLang="zh-CN" b="1" dirty="0"/>
          </a:p>
          <a:p>
            <a:pPr lvl="1"/>
            <a:r>
              <a:rPr lang="zh-CN" altLang="en-US" b="1" dirty="0"/>
              <a:t>方案一：</a:t>
            </a:r>
            <a:r>
              <a:rPr lang="zh-CN" altLang="en-US" dirty="0"/>
              <a:t>专门写一个函数来扫描所有头文件，将具有函数功能的宏以</a:t>
            </a:r>
            <a:r>
              <a:rPr lang="en-US" altLang="zh-CN" dirty="0"/>
              <a:t>macro</a:t>
            </a:r>
            <a:r>
              <a:rPr lang="zh-CN" altLang="en-US" dirty="0"/>
              <a:t>的形式追加到</a:t>
            </a:r>
            <a:r>
              <a:rPr lang="en-US" altLang="zh-CN" dirty="0" err="1"/>
              <a:t>bindgen</a:t>
            </a:r>
            <a:r>
              <a:rPr lang="zh-CN" altLang="en-US" dirty="0"/>
              <a:t>末尾</a:t>
            </a:r>
            <a:endParaRPr lang="en-US" altLang="zh-CN" dirty="0"/>
          </a:p>
          <a:p>
            <a:pPr lvl="1"/>
            <a:r>
              <a:rPr lang="zh-CN" altLang="en-US" b="1" dirty="0"/>
              <a:t>方案二：</a:t>
            </a:r>
            <a:r>
              <a:rPr lang="zh-CN" altLang="en-US" dirty="0"/>
              <a:t>手动将所有具有函数功能的宏修改为具有相同名称和功能的函数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E8CE72B-FDED-4968-2E4E-4650698AED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9365"/>
          <a:stretch/>
        </p:blipFill>
        <p:spPr bwMode="auto">
          <a:xfrm>
            <a:off x="5155156" y="2858761"/>
            <a:ext cx="6685505" cy="31387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2DBE2577-EB7D-567C-569A-272D41CF1AF6}"/>
              </a:ext>
            </a:extLst>
          </p:cNvPr>
          <p:cNvSpPr txBox="1"/>
          <p:nvPr/>
        </p:nvSpPr>
        <p:spPr>
          <a:xfrm>
            <a:off x="6096000" y="1801505"/>
            <a:ext cx="4803819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dirty="0"/>
              <a:t>由于这样的宏并不是很多，所以我们选择了</a:t>
            </a:r>
            <a:r>
              <a:rPr lang="zh-CN" altLang="en-US" b="1" dirty="0"/>
              <a:t>方案二</a:t>
            </a:r>
            <a:r>
              <a:rPr lang="zh-CN" altLang="en-US" dirty="0"/>
              <a:t>，下面就是一个修改宏的例子：</a:t>
            </a:r>
          </a:p>
        </p:txBody>
      </p:sp>
    </p:spTree>
    <p:extLst>
      <p:ext uri="{BB962C8B-B14F-4D97-AF65-F5344CB8AC3E}">
        <p14:creationId xmlns:p14="http://schemas.microsoft.com/office/powerpoint/2010/main" val="3515687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49" y="1979599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49" y="3070512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49" y="4106470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A6C55BD-BAF2-04F0-D8AD-ED231EDA06F1}"/>
              </a:ext>
            </a:extLst>
          </p:cNvPr>
          <p:cNvSpPr txBox="1"/>
          <p:nvPr/>
        </p:nvSpPr>
        <p:spPr bwMode="auto">
          <a:xfrm>
            <a:off x="533400" y="1658470"/>
            <a:ext cx="9806353" cy="2951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上板时为</a:t>
            </a:r>
            <a:r>
              <a:rPr lang="en-US" dirty="0"/>
              <a:t>no-std</a:t>
            </a:r>
            <a:r>
              <a:rPr lang="zh-CN" altLang="en-US" dirty="0"/>
              <a:t>环境，这意味着不支持</a:t>
            </a:r>
            <a:r>
              <a:rPr lang="en-US" dirty="0"/>
              <a:t>std</a:t>
            </a:r>
            <a:r>
              <a:rPr lang="zh-CN" altLang="en-US" dirty="0"/>
              <a:t>库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。</a:t>
            </a:r>
            <a:endParaRPr lang="en-US" altLang="zh-CN" dirty="0"/>
          </a:p>
          <a:p>
            <a:endParaRPr lang="en-US" dirty="0"/>
          </a:p>
          <a:p>
            <a:r>
              <a:rPr lang="zh-CN" altLang="en-US" b="1" dirty="0"/>
              <a:t>解决方案：</a:t>
            </a:r>
            <a:r>
              <a:rPr lang="zh-CN" altLang="en-US" dirty="0"/>
              <a:t>使用</a:t>
            </a:r>
            <a:r>
              <a:rPr lang="en-US" dirty="0"/>
              <a:t>no-std</a:t>
            </a:r>
            <a:r>
              <a:rPr lang="zh-CN" altLang="en-US" dirty="0"/>
              <a:t>环境支持的库如</a:t>
            </a:r>
            <a:r>
              <a:rPr lang="en-US" dirty="0"/>
              <a:t>core</a:t>
            </a:r>
            <a:r>
              <a:rPr lang="zh-CN" altLang="en-US" dirty="0"/>
              <a:t>，</a:t>
            </a:r>
            <a:r>
              <a:rPr lang="en-US" dirty="0" err="1"/>
              <a:t>alloc</a:t>
            </a:r>
            <a:r>
              <a:rPr lang="zh-CN" altLang="en-US" dirty="0"/>
              <a:t>等来替代</a:t>
            </a:r>
            <a:r>
              <a:rPr lang="en-US" dirty="0"/>
              <a:t>std</a:t>
            </a:r>
            <a:r>
              <a:rPr lang="zh-CN" altLang="en-US" dirty="0"/>
              <a:t>：</a:t>
            </a:r>
            <a:endParaRPr lang="en-US" dirty="0"/>
          </a:p>
          <a:p>
            <a:pPr lvl="1"/>
            <a:r>
              <a:rPr lang="en-US" b="1" dirty="0"/>
              <a:t>core</a:t>
            </a:r>
            <a:r>
              <a:rPr lang="zh-CN" altLang="en-US" b="1" dirty="0"/>
              <a:t>：</a:t>
            </a:r>
            <a:r>
              <a:rPr lang="zh-CN" altLang="en-US" dirty="0"/>
              <a:t>核心库，提供</a:t>
            </a:r>
            <a:r>
              <a:rPr lang="en-US" altLang="zh-CN" dirty="0"/>
              <a:t>Rust</a:t>
            </a:r>
            <a:r>
              <a:rPr lang="zh-CN" altLang="en-US" dirty="0"/>
              <a:t>语言的基础设施，如基础数据类型、操作符、宏等</a:t>
            </a:r>
            <a:endParaRPr lang="en-US" dirty="0"/>
          </a:p>
          <a:p>
            <a:pPr lvl="1"/>
            <a:r>
              <a:rPr lang="en-US" b="1" dirty="0" err="1"/>
              <a:t>alloc</a:t>
            </a:r>
            <a:r>
              <a:rPr lang="zh-CN" altLang="en-US" b="1" dirty="0"/>
              <a:t>：</a:t>
            </a:r>
            <a:r>
              <a:rPr lang="zh-CN" altLang="en-US" dirty="0"/>
              <a:t>提供动态内存分配的支持</a:t>
            </a:r>
            <a:endParaRPr lang="en-US" altLang="zh-CN" dirty="0"/>
          </a:p>
          <a:p>
            <a:pPr lvl="1"/>
            <a:r>
              <a:rPr lang="en-US" altLang="zh-CN" b="1" dirty="0" err="1"/>
              <a:t>no_std_async</a:t>
            </a:r>
            <a:r>
              <a:rPr lang="zh-CN" altLang="en-US" b="1" dirty="0"/>
              <a:t>：</a:t>
            </a:r>
            <a:r>
              <a:rPr lang="zh-CN" altLang="en-US" dirty="0"/>
              <a:t>专为</a:t>
            </a:r>
            <a:r>
              <a:rPr lang="en-US" altLang="zh-CN" dirty="0"/>
              <a:t>no-std</a:t>
            </a:r>
            <a:r>
              <a:rPr lang="zh-CN" altLang="en-US" dirty="0"/>
              <a:t>环境设计的异步库，旨在提供不依赖标准库的情况下使用异步编程的能力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7726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6B97F4-113F-5370-5F0C-846ADA2DF5A8}"/>
              </a:ext>
            </a:extLst>
          </p:cNvPr>
          <p:cNvSpPr txBox="1"/>
          <p:nvPr/>
        </p:nvSpPr>
        <p:spPr>
          <a:xfrm>
            <a:off x="533399" y="1468104"/>
            <a:ext cx="11261036" cy="4662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+mj-ea"/>
                <a:ea typeface="+mj-ea"/>
              </a:rPr>
              <a:t>在代码的具体实现中，我们做了以下替换：</a:t>
            </a:r>
            <a:endParaRPr lang="en-US" altLang="zh-CN" dirty="0">
              <a:latin typeface="+mj-ea"/>
              <a:ea typeface="+mj-ea"/>
            </a:endParaRPr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	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			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	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	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			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ynctools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+mj-ea"/>
                <a:ea typeface="+mj-ea"/>
              </a:rPr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>
                <a:latin typeface="+mj-ea"/>
                <a:ea typeface="+mj-ea"/>
              </a:rPr>
              <a:t>等</a:t>
            </a:r>
            <a:r>
              <a:rPr lang="en-US" altLang="zh-CN" dirty="0">
                <a:latin typeface="+mj-ea"/>
                <a:ea typeface="+mj-ea"/>
              </a:rPr>
              <a:t>no-std</a:t>
            </a:r>
            <a:r>
              <a:rPr lang="zh-CN" altLang="en-US" dirty="0">
                <a:latin typeface="+mj-ea"/>
                <a:ea typeface="+mj-ea"/>
              </a:rPr>
              <a:t>环境的库中的内容</a:t>
            </a:r>
            <a:r>
              <a:rPr lang="zh-CN" altLang="en-US" dirty="0"/>
              <a:t>。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86875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7AC784-A136-387E-B4CD-2562395F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05DF3D3-B002-E8A2-110B-B21156170929}"/>
              </a:ext>
            </a:extLst>
          </p:cNvPr>
          <p:cNvSpPr txBox="1"/>
          <p:nvPr/>
        </p:nvSpPr>
        <p:spPr>
          <a:xfrm>
            <a:off x="655093" y="1473958"/>
            <a:ext cx="10174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r>
              <a:rPr lang="zh-CN" altLang="en-US" dirty="0"/>
              <a:t>数据结构定义：</a:t>
            </a:r>
            <a:endParaRPr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0195C08-D154-ACB8-AC5C-539390E02927}"/>
              </a:ext>
            </a:extLst>
          </p:cNvPr>
          <p:cNvSpPr txBox="1"/>
          <p:nvPr/>
        </p:nvSpPr>
        <p:spPr>
          <a:xfrm>
            <a:off x="655094" y="2032166"/>
            <a:ext cx="2586250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pPr marL="0" indent="0">
              <a:buNone/>
            </a:pPr>
            <a:r>
              <a:rPr lang="zh-CN" altLang="en-US" b="0" dirty="0"/>
              <a:t>链表项</a:t>
            </a:r>
            <a:endParaRPr lang="en-US" altLang="zh-CN" b="0" dirty="0"/>
          </a:p>
          <a:p>
            <a:endParaRPr lang="zh-CN" altLang="en-US" b="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0874DDA-18B9-F032-E32A-62B4CCE6F089}"/>
              </a:ext>
            </a:extLst>
          </p:cNvPr>
          <p:cNvSpPr txBox="1"/>
          <p:nvPr/>
        </p:nvSpPr>
        <p:spPr>
          <a:xfrm>
            <a:off x="6096000" y="2021848"/>
            <a:ext cx="2586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pPr marL="0" indent="0">
              <a:buNone/>
            </a:pPr>
            <a:r>
              <a:rPr lang="zh-CN" altLang="en-US" b="0" dirty="0"/>
              <a:t>链表</a:t>
            </a:r>
            <a:endParaRPr lang="en-US" altLang="zh-CN" b="0" dirty="0"/>
          </a:p>
          <a:p>
            <a:endParaRPr lang="zh-CN" altLang="en-US" b="0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46C36FB-A7FB-5646-7F5F-F6A8EE360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282" y="2487321"/>
            <a:ext cx="5548706" cy="279425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50F4973-1AAD-361E-06BC-1B7867660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150" y="2487321"/>
            <a:ext cx="4987146" cy="288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96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5048B6-B04C-F0FB-6AF7-2280E9B4A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E7BCD7-4562-B1B8-FB74-6FC45C0FB920}"/>
              </a:ext>
            </a:extLst>
          </p:cNvPr>
          <p:cNvSpPr txBox="1"/>
          <p:nvPr/>
        </p:nvSpPr>
        <p:spPr>
          <a:xfrm>
            <a:off x="665203" y="1535373"/>
            <a:ext cx="9328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首先，为链表项实现一系列基本功能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右边是</a:t>
            </a:r>
            <a:r>
              <a:rPr lang="zh-CN" altLang="en-US" sz="1800" dirty="0"/>
              <a:t>为链表项定义的一系列方法：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9DF0F0E-D870-89EE-CC1C-942985A42E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416" y="624764"/>
            <a:ext cx="4917545" cy="537721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916AD6F-5719-F582-7948-BBF73EA59743}"/>
              </a:ext>
            </a:extLst>
          </p:cNvPr>
          <p:cNvSpPr txBox="1"/>
          <p:nvPr/>
        </p:nvSpPr>
        <p:spPr>
          <a:xfrm>
            <a:off x="7369792" y="6143823"/>
            <a:ext cx="3104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图例：为链表项定义的一系列方法</a:t>
            </a:r>
          </a:p>
        </p:txBody>
      </p:sp>
    </p:spTree>
    <p:extLst>
      <p:ext uri="{BB962C8B-B14F-4D97-AF65-F5344CB8AC3E}">
        <p14:creationId xmlns:p14="http://schemas.microsoft.com/office/powerpoint/2010/main" val="11471888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03129-34D7-77D7-4A13-195A618C0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64324D1-3FBF-7F02-B1E5-ED65D6E18A80}"/>
              </a:ext>
            </a:extLst>
          </p:cNvPr>
          <p:cNvSpPr txBox="1"/>
          <p:nvPr/>
        </p:nvSpPr>
        <p:spPr>
          <a:xfrm>
            <a:off x="668740" y="1453487"/>
            <a:ext cx="6591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然后，为链表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937C31C-7D3D-A4FF-6445-BCE89A010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41" y="1890215"/>
            <a:ext cx="3438478" cy="464023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AB84C60-BFDB-A409-EB49-94558EEE2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982" y="1207827"/>
            <a:ext cx="5223602" cy="532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72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29FD16-5221-E42C-CA49-66F867D3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419244-0445-C49C-9FF5-9F1F67F46BD4}"/>
              </a:ext>
            </a:extLst>
          </p:cNvPr>
          <p:cNvSpPr txBox="1"/>
          <p:nvPr/>
        </p:nvSpPr>
        <p:spPr>
          <a:xfrm>
            <a:off x="533400" y="1535373"/>
            <a:ext cx="10548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再实现一些基本的函数，如取得或修改链表项的前后结点，获得或修改链表项的值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A40EE6-2E13-1654-21B7-372F75672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170" y="1904705"/>
            <a:ext cx="4137546" cy="46795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827F946-C6C3-E701-4F03-6C9952CE7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958" y="1904704"/>
            <a:ext cx="4399663" cy="464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245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6BA52B-E120-9CF4-6345-BD146555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953CB7A-EECF-6099-435B-A28B917E6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303" y="735843"/>
            <a:ext cx="5396998" cy="552848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FB07CC2-D90A-FAE0-393A-C7E19EE50CF8}"/>
              </a:ext>
            </a:extLst>
          </p:cNvPr>
          <p:cNvSpPr txBox="1"/>
          <p:nvPr/>
        </p:nvSpPr>
        <p:spPr>
          <a:xfrm>
            <a:off x="682388" y="1514901"/>
            <a:ext cx="4380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最后，调用前面实现的函数或方法来实现</a:t>
            </a:r>
            <a:r>
              <a:rPr lang="en-US" altLang="zh-CN" dirty="0" err="1"/>
              <a:t>list.c</a:t>
            </a:r>
            <a:r>
              <a:rPr lang="zh-CN" altLang="en-US" dirty="0"/>
              <a:t>中的相应的函数即可：</a:t>
            </a:r>
          </a:p>
        </p:txBody>
      </p:sp>
    </p:spTree>
    <p:extLst>
      <p:ext uri="{BB962C8B-B14F-4D97-AF65-F5344CB8AC3E}">
        <p14:creationId xmlns:p14="http://schemas.microsoft.com/office/powerpoint/2010/main" val="2505421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CC25EA20-0879-9307-677D-1BD01B27A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65464360" name="文本框 255685436"/>
          <p:cNvSpPr txBox="1"/>
          <p:nvPr/>
        </p:nvSpPr>
        <p:spPr bwMode="auto">
          <a:xfrm>
            <a:off x="796955" y="5101610"/>
            <a:ext cx="9649197" cy="94523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lang="zh-Hans" sz="2800" b="1" i="0" u="none" strike="noStrike" cap="none" spc="0" dirty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条件编译</a:t>
            </a:r>
            <a:endParaRPr lang="zh-Hans" sz="2800" b="0" i="0" u="none" strike="noStrike" cap="none" spc="0" dirty="0">
              <a:solidFill>
                <a:srgbClr val="000000"/>
              </a:solidFill>
              <a:latin typeface="等线 Light"/>
              <a:ea typeface="等线 Light"/>
              <a:cs typeface="等线 Light"/>
            </a:endParaRPr>
          </a:p>
          <a:p>
            <a:pPr marL="394022" indent="-394022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C语言预处理指令 -&gt; #[cfg]、#[cfg_attr]等属性宏。</a:t>
            </a:r>
            <a:endParaRPr sz="2800" b="0" i="0" u="none" dirty="0">
              <a:solidFill>
                <a:srgbClr val="000000"/>
              </a:solidFill>
              <a:latin typeface="等线 Light"/>
              <a:ea typeface="等线 Light"/>
              <a:cs typeface="Times New Roman"/>
            </a:endParaRPr>
          </a:p>
        </p:txBody>
      </p:sp>
      <p:pic>
        <p:nvPicPr>
          <p:cNvPr id="839205344" name="图片 83920534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0330" y="1774211"/>
            <a:ext cx="5808624" cy="2676522"/>
          </a:xfrm>
          <a:prstGeom prst="rect">
            <a:avLst/>
          </a:prstGeom>
        </p:spPr>
      </p:pic>
      <p:pic>
        <p:nvPicPr>
          <p:cNvPr id="1275971156" name="图片 127597115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73046" y="1645930"/>
            <a:ext cx="5175249" cy="3105149"/>
          </a:xfrm>
          <a:prstGeom prst="rect">
            <a:avLst/>
          </a:prstGeom>
        </p:spPr>
      </p:pic>
      <p:sp>
        <p:nvSpPr>
          <p:cNvPr id="1328314937" name="箭头: 右 1328314936"/>
          <p:cNvSpPr/>
          <p:nvPr/>
        </p:nvSpPr>
        <p:spPr bwMode="auto">
          <a:xfrm>
            <a:off x="5480082" y="2934673"/>
            <a:ext cx="634998" cy="42862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E276D732-34BE-77FA-F2DB-09041290D4C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80EE4C3-AD4C-0C98-105C-A490FD0ECDB9}"/>
              </a:ext>
            </a:extLst>
          </p:cNvPr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E53551DF-DDEA-1971-7BBE-1236FA9543B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16628736" name="文本框 599271341"/>
          <p:cNvSpPr txBox="1"/>
          <p:nvPr/>
        </p:nvSpPr>
        <p:spPr bwMode="auto">
          <a:xfrm>
            <a:off x="779497" y="2735397"/>
            <a:ext cx="4667971" cy="16767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删除指定任务。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当前任务：准备删除并调度上下文切换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cs typeface="等线 Light"/>
            </a:endParaRPr>
          </a:p>
          <a:p>
            <a:pPr marL="371992" indent="-371992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其他任务：释放任务资源。</a:t>
            </a:r>
            <a:endParaRPr sz="2600">
              <a:latin typeface="等线 Light"/>
              <a:ea typeface="等线 Light"/>
            </a:endParaRPr>
          </a:p>
        </p:txBody>
      </p:sp>
      <p:pic>
        <p:nvPicPr>
          <p:cNvPr id="325906725" name="图片 32590672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24224" y="1231899"/>
            <a:ext cx="6177274" cy="4832348"/>
          </a:xfrm>
          <a:prstGeom prst="rect">
            <a:avLst/>
          </a:prstGeom>
        </p:spPr>
      </p:pic>
      <p:sp>
        <p:nvSpPr>
          <p:cNvPr id="4" name="标题 1">
            <a:extLst>
              <a:ext uri="{FF2B5EF4-FFF2-40B4-BE49-F238E27FC236}">
                <a16:creationId xmlns:a16="http://schemas.microsoft.com/office/drawing/2014/main" id="{407BE46F-DDEB-6299-EA26-B3AD53276C8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E6DDAFC9-1287-56CE-C63C-9DD5A4473F2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F8B0878E-D3F0-49B0-050F-39BD663012D3}"/>
              </a:ext>
            </a:extLst>
          </p:cNvPr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154B8755-DBD3-EFB8-E68E-79A48F2337C0}"/>
              </a:ext>
            </a:extLst>
          </p:cNvPr>
          <p:cNvSpPr/>
          <p:nvPr/>
        </p:nvSpPr>
        <p:spPr bwMode="auto">
          <a:xfrm>
            <a:off x="207999" y="1320756"/>
            <a:ext cx="5937970" cy="2340864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2BBD83B7-9074-F455-2C48-E40EF37B9E18}"/>
              </a:ext>
            </a:extLst>
          </p:cNvPr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2" name=" 1">
            <a:extLst>
              <a:ext uri="{FF2B5EF4-FFF2-40B4-BE49-F238E27FC236}">
                <a16:creationId xmlns:a16="http://schemas.microsoft.com/office/drawing/2014/main" id="{A5F72573-7C07-558C-6CFD-25C7916968AD}"/>
              </a:ext>
            </a:extLst>
          </p:cNvPr>
          <p:cNvSpPr/>
          <p:nvPr/>
        </p:nvSpPr>
        <p:spPr bwMode="auto">
          <a:xfrm>
            <a:off x="533399" y="1825624"/>
            <a:ext cx="5750169" cy="4422775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R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altLang="zh-Hans"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update</a:t>
            </a:r>
            <a:endParaRPr lang="en-US" altLang="zh-Hans" sz="2600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，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使用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LRU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替换策略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1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，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51473" y="1825624"/>
            <a:ext cx="5127854" cy="4422775"/>
          </a:xfrm>
          <a:prstGeom prst="rect">
            <a:avLst/>
          </a:prstGeom>
          <a:noFill/>
        </p:spPr>
      </p:pic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8A33E982-9082-35A5-975E-26115B0A19D3}"/>
              </a:ext>
            </a:extLst>
          </p:cNvPr>
          <p:cNvSpPr txBox="1"/>
          <p:nvPr/>
        </p:nvSpPr>
        <p:spPr bwMode="auto">
          <a:xfrm>
            <a:off x="533400" y="1825624"/>
            <a:ext cx="5486400" cy="4422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我们实现的</a:t>
            </a:r>
            <a:r>
              <a:rPr lang="en-US" altLang="zh-CN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MMU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取得了非常好的效果。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快速排序等程序的测试下，命中率均在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99.9%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以上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！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46564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B5E5138-A026-1533-B84F-CDB43EC91014}"/>
              </a:ext>
            </a:extLst>
          </p:cNvPr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  <a:endParaRPr lang="en-US" sz="24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功能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丰富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需求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源代码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质量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代码精简、可读性强，易于移植到各种嵌入式平台，对开发者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友好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版权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“友好”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许可证商业友好，允许商业应用和修改，没有版权的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后顾之忧。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链接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714964" y="2801121"/>
            <a:ext cx="6143036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为了在不同的架构下运行，需要使用专门的编译器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aarch64-none-elf-gcc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进行链接以生成可作为内核的 </a:t>
            </a:r>
            <a:r>
              <a:rPr lang="en-US" altLang="zh-CN" sz="2400" dirty="0">
                <a:latin typeface="等线 Light"/>
                <a:ea typeface="等线 Light"/>
              </a:rPr>
              <a:t>elf </a:t>
            </a:r>
            <a:r>
              <a:rPr lang="zh-CN" altLang="en-US" sz="2400" dirty="0">
                <a:latin typeface="等线 Light"/>
                <a:ea typeface="等线 Light"/>
              </a:rPr>
              <a:t>文件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A279A4-44E8-4BCB-9ACC-D790238E4F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976" y="1671566"/>
            <a:ext cx="4140886" cy="650105"/>
          </a:xfrm>
          <a:prstGeom prst="rect">
            <a:avLst/>
          </a:prstGeom>
        </p:spPr>
      </p:pic>
      <p:sp>
        <p:nvSpPr>
          <p:cNvPr id="6" name="文本框 2">
            <a:extLst>
              <a:ext uri="{FF2B5EF4-FFF2-40B4-BE49-F238E27FC236}">
                <a16:creationId xmlns:a16="http://schemas.microsoft.com/office/drawing/2014/main" id="{26B4AD7B-ADAF-4369-BBE5-FCD42151BCD8}"/>
              </a:ext>
            </a:extLst>
          </p:cNvPr>
          <p:cNvSpPr txBox="1"/>
          <p:nvPr/>
        </p:nvSpPr>
        <p:spPr bwMode="auto">
          <a:xfrm>
            <a:off x="7134395" y="2295931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en-US" altLang="zh-CN" i="1" dirty="0">
                <a:latin typeface="等线 Light"/>
                <a:ea typeface="等线 Light"/>
              </a:rPr>
              <a:t>Cargo </a:t>
            </a:r>
            <a:r>
              <a:rPr lang="zh-CN" altLang="en-US" i="1" dirty="0">
                <a:latin typeface="等线 Light"/>
                <a:ea typeface="等线 Light"/>
              </a:rPr>
              <a:t>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~/.cargo/config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90329-2954-4A15-A807-E27E6EB395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267" y="2801121"/>
            <a:ext cx="3109143" cy="3470417"/>
          </a:xfrm>
          <a:prstGeom prst="rect">
            <a:avLst/>
          </a:prstGeom>
        </p:spPr>
      </p:pic>
      <p:sp>
        <p:nvSpPr>
          <p:cNvPr id="9" name="文本框 2">
            <a:extLst>
              <a:ext uri="{FF2B5EF4-FFF2-40B4-BE49-F238E27FC236}">
                <a16:creationId xmlns:a16="http://schemas.microsoft.com/office/drawing/2014/main" id="{F51E98DB-DCB0-41D6-B123-DE33DBCBD4C8}"/>
              </a:ext>
            </a:extLst>
          </p:cNvPr>
          <p:cNvSpPr txBox="1"/>
          <p:nvPr/>
        </p:nvSpPr>
        <p:spPr bwMode="auto">
          <a:xfrm>
            <a:off x="7150814" y="6237023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zh-CN" altLang="en-US" i="1" dirty="0">
                <a:latin typeface="等线 Light"/>
                <a:ea typeface="等线 Light"/>
              </a:rPr>
              <a:t>编译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build.rs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151840409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897396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译成功后生成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写运行脚本使用 </a:t>
            </a:r>
            <a:r>
              <a:rPr lang="en-US" altLang="zh-CN" sz="2400" dirty="0">
                <a:latin typeface="等线 Light"/>
                <a:ea typeface="等线 Light"/>
              </a:rPr>
              <a:t>QEMU </a:t>
            </a:r>
            <a:r>
              <a:rPr lang="zh-CN" altLang="en-US" sz="2400" dirty="0">
                <a:latin typeface="等线 Light"/>
                <a:ea typeface="等线 Light"/>
              </a:rPr>
              <a:t>运行：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FreeRTOS.elf</a:t>
            </a:r>
            <a:endParaRPr lang="en-US" altLang="zh-CN" sz="2400" b="0" dirty="0">
              <a:solidFill>
                <a:srgbClr val="98C379"/>
              </a:solidFill>
              <a:effectLst/>
              <a:latin typeface="Consolas" panose="020B0609020204030204" pitchFamily="49" charset="0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由于运行过程中出现 </a:t>
            </a:r>
            <a:r>
              <a:rPr lang="en-US" altLang="zh-CN" sz="2400" dirty="0">
                <a:latin typeface="等线 Light"/>
                <a:ea typeface="等线 Light"/>
              </a:rPr>
              <a:t>panic </a:t>
            </a:r>
            <a:r>
              <a:rPr lang="zh-CN" altLang="en-US" sz="2400" dirty="0">
                <a:latin typeface="等线 Light"/>
                <a:ea typeface="等线 Light"/>
              </a:rPr>
              <a:t>会导致宕机，且难以使用输出中间值的方式进行调试，为了定位错误出现的位置，需要使用 </a:t>
            </a:r>
            <a:r>
              <a:rPr lang="en-US" altLang="zh-CN" sz="2400" dirty="0" err="1">
                <a:latin typeface="等线 Light"/>
                <a:ea typeface="等线 Light"/>
              </a:rPr>
              <a:t>gdb-multiarch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调试工具。</a:t>
            </a:r>
            <a:endParaRPr lang="en-US" sz="2400" dirty="0">
              <a:latin typeface="等线 Light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33372091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53697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首先在使用调试模式运行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QEMU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：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FreeRTOS.elf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effectLst/>
                <a:highlight>
                  <a:srgbClr val="FFFF00"/>
                </a:highlight>
                <a:latin typeface="Consolas" panose="020B0609020204030204" pitchFamily="49" charset="0"/>
              </a:rPr>
              <a:t>–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s</a:t>
            </a:r>
            <a:r>
              <a:rPr lang="zh-CN" altLang="en-US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–S</a:t>
            </a:r>
            <a:endParaRPr lang="en-US" altLang="zh-CN" sz="2400" b="1" dirty="0">
              <a:solidFill>
                <a:srgbClr val="ABB2BF"/>
              </a:solidFill>
              <a:highlight>
                <a:srgbClr val="FFFF00"/>
              </a:highlight>
              <a:latin typeface="Consolas" panose="020B0609020204030204" pitchFamily="49" charset="0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此时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QEMU</a:t>
            </a:r>
            <a:r>
              <a:rPr lang="en-US" altLang="zh-CN" sz="2400" dirty="0">
                <a:latin typeface="Consolig" panose="020B0609020204030204"/>
                <a:ea typeface="等线 Light"/>
              </a:rPr>
              <a:t>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会打开端口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1234</a:t>
            </a:r>
            <a:r>
              <a:rPr lang="en-US" altLang="zh-CN" sz="2400" dirty="0">
                <a:latin typeface="Consolig" panose="020B0609020204030204"/>
                <a:ea typeface="等线 Light"/>
              </a:rPr>
              <a:t>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供调试工具访问。</a:t>
            </a:r>
            <a:endParaRPr lang="en-US" altLang="zh-CN" sz="2400" dirty="0">
              <a:latin typeface="Consolig" panose="020B0609020204030204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运行 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gdb-multiarch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 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。</a:t>
            </a:r>
            <a:endParaRPr lang="en-US" altLang="zh-CN" sz="2400" dirty="0">
              <a:latin typeface="Consolig" panose="020B0609020204030204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target remote:1234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即可启动调试。</a:t>
            </a:r>
            <a:endParaRPr lang="en-US" sz="2400" dirty="0">
              <a:latin typeface="Consolig" panose="020B0609020204030204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9D0F55-541E-4DDF-8B29-C752323C99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954" y="4723001"/>
            <a:ext cx="6144088" cy="147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3324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1789979"/>
            <a:ext cx="4411607" cy="384393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加步数可以执行指定的步长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例如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 100 </a:t>
            </a:r>
            <a:r>
              <a:rPr lang="zh-CN" altLang="en-US" sz="2400" dirty="0">
                <a:latin typeface="等线 Light"/>
                <a:ea typeface="等线 Light"/>
              </a:rPr>
              <a:t>可以往后运行 </a:t>
            </a:r>
            <a:r>
              <a:rPr lang="en-US" altLang="zh-CN" sz="2400" dirty="0">
                <a:latin typeface="等线 Light"/>
                <a:ea typeface="等线 Light"/>
              </a:rPr>
              <a:t>100 </a:t>
            </a:r>
            <a:r>
              <a:rPr lang="zh-CN" altLang="en-US" sz="2400" dirty="0">
                <a:latin typeface="等线 Light"/>
                <a:ea typeface="等线 Light"/>
              </a:rPr>
              <a:t>步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以此可以找到宕机的位置，从而进一步在宕机的位置附近找到导致宕机的代码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最后根据这些信息对导致宕机的代码进行修改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DCCD34-2DD6-44AE-82D7-49D20FD629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487" y="1900517"/>
            <a:ext cx="6432311" cy="3622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3778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整体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测试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/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/>
              </a:bodyPr>
              <a:lstStyle/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为了验证操作系统的有效性，我们编写了以下的测试任务：</a:t>
                </a:r>
                <a:endParaRPr lang="en-US" altLang="zh-CN" sz="2800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en-US" altLang="zh-CN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MMU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的测试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A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计时器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B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循环输出</a:t>
                </a:r>
                <a:r>
                  <a:rPr lang="en-US" altLang="zh-CN" sz="2800" b="1" i="1" dirty="0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Never </a:t>
                </a:r>
                <a:r>
                  <a:rPr lang="en-US" altLang="zh-CN" sz="2800" b="1" i="1" dirty="0" err="1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Gonna</a:t>
                </a:r>
                <a:r>
                  <a:rPr lang="en-US" altLang="zh-CN" sz="2800" b="1" i="1" dirty="0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 Give You Up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副歌歌词的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C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计算</a:t>
                </a:r>
                <a14:m>
                  <m:oMath xmlns:m="http://schemas.openxmlformats.org/officeDocument/2006/math">
                    <m:r>
                      <a:rPr lang="el-GR" altLang="zh-CN" sz="3000" b="1" i="1">
                        <a:latin typeface="Cambria Math" panose="02040503050406030204" pitchFamily="18" charset="0"/>
                        <a:ea typeface="等线 Light" panose="02010600030101010101" pitchFamily="2" charset="-122"/>
                        <a:cs typeface="Calibri"/>
                      </a:rPr>
                      <m:t>𝝅</m:t>
                    </m:r>
                    <m:r>
                      <a:rPr lang="zh-CN" altLang="en-US" sz="3000">
                        <a:latin typeface="Cambria Math" panose="02040503050406030204" pitchFamily="18" charset="0"/>
                        <a:ea typeface="等线 Light" panose="02010600030101010101" pitchFamily="2" charset="-122"/>
                        <a:cs typeface="Calibri"/>
                      </a:rPr>
                      <m:t>的</m:t>
                    </m:r>
                  </m:oMath>
                </a14:m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前</a:t>
                </a:r>
                <a:r>
                  <a:rPr lang="en-US" altLang="zh-CN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10,000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位的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D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</p:txBody>
          </p:sp>
        </mc:Choice>
        <mc:Fallback xmlns="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  <a:blipFill>
                <a:blip r:embed="rId3"/>
                <a:stretch>
                  <a:fillRect l="-2108" t="-2614" r="-31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 descr="图形用户界面, 文本, 应用程序&#10;&#10;描述已自动生成">
            <a:extLst>
              <a:ext uri="{FF2B5EF4-FFF2-40B4-BE49-F238E27FC236}">
                <a16:creationId xmlns:a16="http://schemas.microsoft.com/office/drawing/2014/main" id="{E554B268-A0BB-1797-6589-7ED77821E5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756" y="1825624"/>
            <a:ext cx="4508259" cy="787539"/>
          </a:xfrm>
          <a:prstGeom prst="rect">
            <a:avLst/>
          </a:prstGeom>
        </p:spPr>
      </p:pic>
      <p:pic>
        <p:nvPicPr>
          <p:cNvPr id="7" name="图片 6" descr="文本&#10;&#10;描述已自动生成">
            <a:extLst>
              <a:ext uri="{FF2B5EF4-FFF2-40B4-BE49-F238E27FC236}">
                <a16:creationId xmlns:a16="http://schemas.microsoft.com/office/drawing/2014/main" id="{CB0855F5-7BDB-734A-23AB-F429409FA3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2154" y="2747946"/>
            <a:ext cx="3186572" cy="350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66081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整体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测试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F377543-9A2A-FDC7-C1F8-8C0E60A0FE78}"/>
              </a:ext>
            </a:extLst>
          </p:cNvPr>
          <p:cNvSpPr txBox="1"/>
          <p:nvPr/>
        </p:nvSpPr>
        <p:spPr bwMode="auto">
          <a:xfrm>
            <a:off x="702859" y="3129193"/>
            <a:ext cx="4628801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所有的任务井然有序地运行，操作系统一切正常。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70783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 dirty="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 dirty="0"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zh-Hans"/>
            </a:defPPr>
            <a:lvl1pPr marL="285750" indent="-28575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400" b="0" kern="120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r>
              <a:rPr lang="en-US" altLang="zh-CN" dirty="0"/>
              <a:t>Rust </a:t>
            </a:r>
            <a:r>
              <a:rPr lang="zh-CN" altLang="en-US" dirty="0"/>
              <a:t>是一门系统级别的编程语言，它</a:t>
            </a:r>
            <a:r>
              <a:rPr lang="zh-CN" altLang="en-US"/>
              <a:t>旨在解决</a:t>
            </a:r>
            <a:r>
              <a:rPr lang="en-US" altLang="zh-CN" dirty="0"/>
              <a:t>C/C++</a:t>
            </a:r>
            <a:r>
              <a:rPr lang="zh-CN" altLang="en-US" dirty="0"/>
              <a:t>等语言在系统级编程中常见的安全性和并发性等问题。</a:t>
            </a:r>
          </a:p>
          <a:p>
            <a:endParaRPr lang="zh-CN" altLang="en-US" dirty="0"/>
          </a:p>
          <a:p>
            <a:r>
              <a:rPr lang="zh-CN" altLang="en-US" dirty="0"/>
              <a:t>传统的系统级</a:t>
            </a:r>
            <a:r>
              <a:rPr lang="zh-CN" altLang="en-US"/>
              <a:t>编程语言如</a:t>
            </a:r>
            <a:r>
              <a:rPr lang="en-US" altLang="zh-CN" dirty="0"/>
              <a:t>C/C++</a:t>
            </a:r>
            <a:r>
              <a:rPr lang="zh-CN" altLang="en-US" dirty="0"/>
              <a:t>在处理内存安全性和并发性时存在许多挑战，如空指针、数据竞争等问题</a:t>
            </a:r>
            <a:r>
              <a:rPr lang="zh-CN" altLang="en-US"/>
              <a:t>。而</a:t>
            </a:r>
            <a:r>
              <a:rPr lang="en-US" altLang="zh-CN" dirty="0"/>
              <a:t>Rust</a:t>
            </a:r>
            <a:r>
              <a:rPr lang="zh-CN" altLang="en-US" dirty="0"/>
              <a:t>的设计目标之一是通过强大的类型系统和所有权机制解决这些问题，提高代码的安全性和</a:t>
            </a:r>
            <a:r>
              <a:rPr lang="zh-CN" altLang="en-US"/>
              <a:t>可靠性。</a:t>
            </a:r>
            <a:endParaRPr lang="en-US" dirty="0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5755909" y="6057781"/>
            <a:ext cx="580639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细致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阎昶澍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长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分，交叉编译与上板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郭东昊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上板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薄震宇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翟恩和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王劲博：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  <p:sp>
        <p:nvSpPr>
          <p:cNvPr id="2" name="文本框 2">
            <a:extLst>
              <a:ext uri="{FF2B5EF4-FFF2-40B4-BE49-F238E27FC236}">
                <a16:creationId xmlns:a16="http://schemas.microsoft.com/office/drawing/2014/main" id="{30E14B2F-D123-885E-4DB0-285C9209D1E8}"/>
              </a:ext>
            </a:extLst>
          </p:cNvPr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r>
              <a:rPr lang="en-US" alt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——</a:t>
            </a: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351D130-E2C5-BDE5-8D53-B0A0B14A1974}"/>
              </a:ext>
            </a:extLst>
          </p:cNvPr>
          <p:cNvSpPr txBox="1"/>
          <p:nvPr/>
        </p:nvSpPr>
        <p:spPr>
          <a:xfrm>
            <a:off x="607325" y="1781033"/>
            <a:ext cx="9376012" cy="3022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版本的</a:t>
            </a:r>
            <a:r>
              <a:rPr lang="en-US" altLang="zh-CN" sz="20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顺利在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QEMU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运行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整个系统完整编译，而非对某一特性的专门测试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顺利实现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命中率高达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74%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r>
              <a:rPr lang="en-US" alt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——</a:t>
            </a: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2014343"/>
              </p:ext>
            </p:extLst>
          </p:nvPr>
        </p:nvGraphicFramePr>
        <p:xfrm>
          <a:off x="615423" y="1852245"/>
          <a:ext cx="10847347" cy="3960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8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ustrust</a:t>
                      </a: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(OSH2024)</a:t>
                      </a: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magination (OSH2023)</a:t>
                      </a:r>
                      <a:endParaRPr sz="66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-rust-</a:t>
                      </a:r>
                      <a:r>
                        <a:rPr sz="24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reertos</a:t>
                      </a: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(OSH2019)</a:t>
                      </a: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</a:t>
                      </a: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ust完整改写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叉编译&amp;QEMU模拟器运行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板运行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MU软件模拟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MU硬件支持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B8EA4979-3366-87FC-0D2F-568B1C25C6B9}"/>
              </a:ext>
            </a:extLst>
          </p:cNvPr>
          <p:cNvSpPr txBox="1"/>
          <p:nvPr/>
        </p:nvSpPr>
        <p:spPr>
          <a:xfrm>
            <a:off x="2465754" y="1933911"/>
            <a:ext cx="34967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</a:rPr>
              <a:t>小组名</a:t>
            </a:r>
            <a:r>
              <a:rPr lang="en-US" altLang="zh-CN" sz="3200" b="1" dirty="0">
                <a:solidFill>
                  <a:schemeClr val="bg1"/>
                </a:solidFill>
              </a:rPr>
              <a:t>&amp;</a:t>
            </a:r>
            <a:r>
              <a:rPr lang="zh-CN" altLang="en-US" sz="3200" b="1" dirty="0">
                <a:solidFill>
                  <a:schemeClr val="bg1"/>
                </a:solidFill>
              </a:rPr>
              <a:t>年份</a:t>
            </a:r>
            <a:endParaRPr lang="zh-CN" altLang="en-US" sz="3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4A87290-6B73-5336-6B36-CD03A76313CA}"/>
              </a:ext>
            </a:extLst>
          </p:cNvPr>
          <p:cNvSpPr txBox="1"/>
          <p:nvPr/>
        </p:nvSpPr>
        <p:spPr>
          <a:xfrm>
            <a:off x="729230" y="2584963"/>
            <a:ext cx="24267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u="none" dirty="0">
                <a:solidFill>
                  <a:schemeClr val="bg1"/>
                </a:solidFill>
              </a:rPr>
              <a:t>项目完成度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0</TotalTime>
  <Words>2757</Words>
  <Application>Microsoft Macintosh PowerPoint</Application>
  <DocSecurity>0</DocSecurity>
  <PresentationFormat>Widescreen</PresentationFormat>
  <Paragraphs>310</Paragraphs>
  <Slides>46</Slides>
  <Notes>39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6</vt:i4>
      </vt:variant>
    </vt:vector>
  </HeadingPairs>
  <TitlesOfParts>
    <vt:vector size="60" baseType="lpstr">
      <vt:lpstr>Segoe UI</vt:lpstr>
      <vt:lpstr>等线 Light</vt:lpstr>
      <vt:lpstr>Segoe UI Light</vt:lpstr>
      <vt:lpstr>微软雅黑</vt:lpstr>
      <vt:lpstr>Arial</vt:lpstr>
      <vt:lpstr>Consolas</vt:lpstr>
      <vt:lpstr>Times New Roman</vt:lpstr>
      <vt:lpstr>Consolig</vt:lpstr>
      <vt:lpstr>等线</vt:lpstr>
      <vt:lpstr>Calibri</vt:lpstr>
      <vt:lpstr>Cambria Math</vt:lpstr>
      <vt:lpstr>Office Theme</vt:lpstr>
      <vt:lpstr>oleObj</vt:lpstr>
      <vt:lpstr>think-cell Slide</vt:lpstr>
      <vt:lpstr>PowerPoint Presentation</vt:lpstr>
      <vt:lpstr>PowerPoint Presentation</vt:lpstr>
      <vt:lpstr>PowerPoint Presentation</vt:lpstr>
      <vt:lpstr>引言——项目背景 FreeRTOS</vt:lpstr>
      <vt:lpstr>引言——项目背景 Rust</vt:lpstr>
      <vt:lpstr>项目目标 ——用 Rust 改写 FreeRTOS 并支持 MMU</vt:lpstr>
      <vt:lpstr>PowerPoint Presentation</vt:lpstr>
      <vt:lpstr>PowerPoint Presentation</vt:lpstr>
      <vt:lpstr>PowerPoint Presentation</vt:lpstr>
      <vt:lpstr>PowerPoint Presentation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task模块</vt:lpstr>
      <vt:lpstr>Rust改写——关键模块 task模块</vt:lpstr>
      <vt:lpstr>Rust改写——关键模块 task模块</vt:lpstr>
      <vt:lpstr>Rust改写——关键模块 task模块</vt:lpstr>
      <vt:lpstr>PowerPoint Presentation</vt:lpstr>
      <vt:lpstr>MMU部分</vt:lpstr>
      <vt:lpstr>MMU部分：关键函数</vt:lpstr>
      <vt:lpstr>MMU部分：关键函数</vt:lpstr>
      <vt:lpstr>MMU部分：关键函数</vt:lpstr>
      <vt:lpstr>MMU部分：关键函数</vt:lpstr>
      <vt:lpstr>MMU部分：模拟结果</vt:lpstr>
      <vt:lpstr>PowerPoint Presentation</vt:lpstr>
      <vt:lpstr>交叉编译与上板(bindgen方案)</vt:lpstr>
      <vt:lpstr>交叉编译与上板（链接）</vt:lpstr>
      <vt:lpstr>交叉编译与上板（QEMU模拟与调试）</vt:lpstr>
      <vt:lpstr>交叉编译与上板（QEMU模拟与调试）</vt:lpstr>
      <vt:lpstr>交叉编译与上板（QEMU模拟与调试）</vt:lpstr>
      <vt:lpstr>整体测试结果</vt:lpstr>
      <vt:lpstr>整体测试结果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Hyperhydrochloric Acid</cp:lastModifiedBy>
  <cp:revision>314</cp:revision>
  <dcterms:created xsi:type="dcterms:W3CDTF">2019-08-16T12:08:31Z</dcterms:created>
  <dcterms:modified xsi:type="dcterms:W3CDTF">2024-07-06T00:56:15Z</dcterms:modified>
  <cp:category/>
  <dc:identifier/>
  <cp:contentStatus/>
  <dc:language/>
  <cp:version/>
</cp:coreProperties>
</file>